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4a" ContentType="audi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7" r:id="rId2"/>
  </p:sldMasterIdLst>
  <p:notesMasterIdLst>
    <p:notesMasterId r:id="rId13"/>
  </p:notesMasterIdLst>
  <p:sldIdLst>
    <p:sldId id="267" r:id="rId3"/>
    <p:sldId id="268" r:id="rId4"/>
    <p:sldId id="269" r:id="rId5"/>
    <p:sldId id="270" r:id="rId6"/>
    <p:sldId id="271" r:id="rId7"/>
    <p:sldId id="283" r:id="rId8"/>
    <p:sldId id="284" r:id="rId9"/>
    <p:sldId id="285" r:id="rId10"/>
    <p:sldId id="286" r:id="rId11"/>
    <p:sldId id="377" r:id="rId12"/>
  </p:sldIdLst>
  <p:sldSz cx="9144000" cy="5143500" type="screen16x9"/>
  <p:notesSz cx="6858000" cy="9144000"/>
  <p:custDataLst>
    <p:tags r:id="rId14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4">
          <p15:clr>
            <a:srgbClr val="A4A3A4"/>
          </p15:clr>
        </p15:guide>
        <p15:guide id="2" orient="horz" pos="1540">
          <p15:clr>
            <a:srgbClr val="A4A3A4"/>
          </p15:clr>
        </p15:guide>
        <p15:guide id="3" orient="horz" pos="2380">
          <p15:clr>
            <a:srgbClr val="A4A3A4"/>
          </p15:clr>
        </p15:guide>
        <p15:guide id="4" orient="horz" pos="1059">
          <p15:clr>
            <a:srgbClr val="A4A3A4"/>
          </p15:clr>
        </p15:guide>
        <p15:guide id="5" orient="horz" pos="81">
          <p15:clr>
            <a:srgbClr val="A4A3A4"/>
          </p15:clr>
        </p15:guide>
        <p15:guide id="6" pos="2880">
          <p15:clr>
            <a:srgbClr val="A4A3A4"/>
          </p15:clr>
        </p15:guide>
        <p15:guide id="7" pos="1103">
          <p15:clr>
            <a:srgbClr val="A4A3A4"/>
          </p15:clr>
        </p15:guide>
        <p15:guide id="8" pos="136">
          <p15:clr>
            <a:srgbClr val="A4A3A4"/>
          </p15:clr>
        </p15:guide>
        <p15:guide id="9" pos="5640">
          <p15:clr>
            <a:srgbClr val="A4A3A4"/>
          </p15:clr>
        </p15:guide>
        <p15:guide id="10" pos="992">
          <p15:clr>
            <a:srgbClr val="A4A3A4"/>
          </p15:clr>
        </p15:guide>
        <p15:guide id="11" pos="527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C4C4C"/>
    <a:srgbClr val="666666"/>
    <a:srgbClr val="333333"/>
    <a:srgbClr val="1919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78" autoAdjust="0"/>
  </p:normalViewPr>
  <p:slideViewPr>
    <p:cSldViewPr showGuides="1">
      <p:cViewPr>
        <p:scale>
          <a:sx n="66" d="100"/>
          <a:sy n="66" d="100"/>
        </p:scale>
        <p:origin x="1264" y="416"/>
      </p:cViewPr>
      <p:guideLst>
        <p:guide orient="horz" pos="404"/>
        <p:guide orient="horz" pos="1540"/>
        <p:guide orient="horz" pos="2380"/>
        <p:guide orient="horz" pos="1059"/>
        <p:guide orient="horz" pos="81"/>
        <p:guide pos="2880"/>
        <p:guide pos="1103"/>
        <p:guide pos="136"/>
        <p:guide pos="5640"/>
        <p:guide pos="992"/>
        <p:guide pos="527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A7E9FF-C87F-47F0-B276-CD6CBD91C8BC}" type="datetimeFigureOut">
              <a:rPr lang="sv-SE" smtClean="0"/>
              <a:t>2020-08-26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4B5C13-3FC4-4AEE-8323-865F5E537D1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924310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601575-FC8D-4500-B469-F1332D290FB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799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ktangel 9"/>
          <p:cNvSpPr/>
          <p:nvPr userDrawn="1"/>
        </p:nvSpPr>
        <p:spPr>
          <a:xfrm>
            <a:off x="-23854" y="0"/>
            <a:ext cx="9167854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822250" y="2268831"/>
            <a:ext cx="6381064" cy="1102519"/>
          </a:xfrm>
        </p:spPr>
        <p:txBody>
          <a:bodyPr anchor="b" anchorCtr="0">
            <a:noAutofit/>
          </a:bodyPr>
          <a:lstStyle>
            <a:lvl1pPr algn="l">
              <a:defRPr sz="4200" b="1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Presentationsnamn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818931" y="3355398"/>
            <a:ext cx="6394766" cy="49954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pic>
        <p:nvPicPr>
          <p:cNvPr id="12" name="Bildobjekt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310743"/>
            <a:ext cx="2589242" cy="1357419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109406" y="1148333"/>
            <a:ext cx="2835811" cy="616857"/>
          </a:xfrm>
        </p:spPr>
        <p:txBody>
          <a:bodyPr anchor="b" anchorCtr="0">
            <a:normAutofit/>
          </a:bodyPr>
          <a:lstStyle>
            <a:lvl1pPr>
              <a:defRPr sz="14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03309" y="1804946"/>
            <a:ext cx="2840906" cy="240924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509588" indent="-327025">
              <a:defRPr sz="1400"/>
            </a:lvl2pPr>
            <a:lvl3pPr>
              <a:defRPr sz="1400"/>
            </a:lvl3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807268" y="1148333"/>
            <a:ext cx="2860322" cy="616857"/>
          </a:xfrm>
        </p:spPr>
        <p:txBody>
          <a:bodyPr anchor="b" anchorCtr="0">
            <a:normAutofit/>
          </a:bodyPr>
          <a:lstStyle>
            <a:lvl1pPr>
              <a:defRPr sz="14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801171" y="1804946"/>
            <a:ext cx="2858735" cy="240924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509588" indent="-327025">
              <a:defRPr sz="1400"/>
            </a:lvl2pPr>
            <a:lvl3pPr>
              <a:defRPr sz="1400"/>
            </a:lvl3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1634714" y="2166452"/>
            <a:ext cx="3043402" cy="249301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/>
              <a:t>Klicka här för att ändra format på </a:t>
            </a:r>
            <a:r>
              <a:rPr lang="sv-SE" dirty="0" err="1"/>
              <a:t>bakgrund-stexten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5316827" y="2166452"/>
            <a:ext cx="3043402" cy="249301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/>
              <a:t>Klicka här för att ändra format på </a:t>
            </a:r>
            <a:r>
              <a:rPr lang="sv-SE" dirty="0" err="1"/>
              <a:t>bakgrunds-texten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ktangel 9"/>
          <p:cNvSpPr/>
          <p:nvPr userDrawn="1"/>
        </p:nvSpPr>
        <p:spPr>
          <a:xfrm>
            <a:off x="-23854" y="0"/>
            <a:ext cx="9167854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822250" y="2268831"/>
            <a:ext cx="6381064" cy="1102519"/>
          </a:xfrm>
        </p:spPr>
        <p:txBody>
          <a:bodyPr anchor="b" anchorCtr="0">
            <a:noAutofit/>
          </a:bodyPr>
          <a:lstStyle>
            <a:lvl1pPr algn="l">
              <a:defRPr sz="4200" b="1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Presentationsnamn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818931" y="3355398"/>
            <a:ext cx="6394766" cy="49954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format på underrubrik i bakgrunden</a:t>
            </a:r>
            <a:endParaRPr lang="sv-SE" dirty="0"/>
          </a:p>
        </p:txBody>
      </p:sp>
      <p:pic>
        <p:nvPicPr>
          <p:cNvPr id="12" name="Bildobjekt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310743"/>
            <a:ext cx="2589242" cy="1357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9216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ktangel 9"/>
          <p:cNvSpPr/>
          <p:nvPr userDrawn="1"/>
        </p:nvSpPr>
        <p:spPr>
          <a:xfrm>
            <a:off x="-23854" y="0"/>
            <a:ext cx="9167854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1810172" y="1880989"/>
            <a:ext cx="6403525" cy="1021556"/>
          </a:xfrm>
        </p:spPr>
        <p:txBody>
          <a:bodyPr anchor="t">
            <a:normAutofit/>
          </a:bodyPr>
          <a:lstStyle>
            <a:lvl1pPr algn="l">
              <a:defRPr sz="4200" b="1" cap="none" baseline="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Avsnittsrubrik</a:t>
            </a:r>
          </a:p>
        </p:txBody>
      </p:sp>
      <p:pic>
        <p:nvPicPr>
          <p:cNvPr id="7" name="Bildobjekt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4940" y="131431"/>
            <a:ext cx="653023" cy="634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83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378651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59987" y="1227846"/>
            <a:ext cx="7592558" cy="616857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771525" y="1862676"/>
            <a:ext cx="7577345" cy="2747424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448250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624870" y="1227846"/>
            <a:ext cx="6743043" cy="616857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34676" y="2910177"/>
            <a:ext cx="6714194" cy="18288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3"/>
          </p:nvPr>
        </p:nvSpPr>
        <p:spPr>
          <a:xfrm>
            <a:off x="1640255" y="1886585"/>
            <a:ext cx="6723812" cy="914400"/>
          </a:xfrm>
        </p:spPr>
        <p:txBody>
          <a:bodyPr>
            <a:norm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4506028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881835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 userDrawn="1"/>
        </p:nvSpPr>
        <p:spPr>
          <a:xfrm>
            <a:off x="0" y="737962"/>
            <a:ext cx="9144000" cy="44055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810439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ktangel 9"/>
          <p:cNvSpPr/>
          <p:nvPr userDrawn="1"/>
        </p:nvSpPr>
        <p:spPr>
          <a:xfrm>
            <a:off x="-23854" y="0"/>
            <a:ext cx="9167854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1810172" y="1880989"/>
            <a:ext cx="6403525" cy="1021556"/>
          </a:xfrm>
        </p:spPr>
        <p:txBody>
          <a:bodyPr anchor="t">
            <a:normAutofit/>
          </a:bodyPr>
          <a:lstStyle>
            <a:lvl1pPr algn="l">
              <a:defRPr sz="4200" b="1" cap="none" baseline="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Avsnittsrubrik</a:t>
            </a:r>
          </a:p>
        </p:txBody>
      </p:sp>
      <p:pic>
        <p:nvPicPr>
          <p:cNvPr id="7" name="Bildobjekt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060"/>
          <a:stretch/>
        </p:blipFill>
        <p:spPr>
          <a:xfrm>
            <a:off x="204940" y="131431"/>
            <a:ext cx="653023" cy="63468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109406" y="1148333"/>
            <a:ext cx="2835811" cy="616857"/>
          </a:xfrm>
        </p:spPr>
        <p:txBody>
          <a:bodyPr anchor="b" anchorCtr="0">
            <a:normAutofit/>
          </a:bodyPr>
          <a:lstStyle>
            <a:lvl1pPr>
              <a:defRPr sz="14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03309" y="1804946"/>
            <a:ext cx="2840906" cy="240924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509588" indent="-327025">
              <a:defRPr sz="1400"/>
            </a:lvl2pPr>
            <a:lvl3pPr>
              <a:defRPr sz="1400"/>
            </a:lvl3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245253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807268" y="1148333"/>
            <a:ext cx="2860322" cy="616857"/>
          </a:xfrm>
        </p:spPr>
        <p:txBody>
          <a:bodyPr anchor="b" anchorCtr="0">
            <a:normAutofit/>
          </a:bodyPr>
          <a:lstStyle>
            <a:lvl1pPr>
              <a:defRPr sz="14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801171" y="1804946"/>
            <a:ext cx="2858735" cy="240924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509588" indent="-327025">
              <a:defRPr sz="1400"/>
            </a:lvl2pPr>
            <a:lvl3pPr>
              <a:defRPr sz="1400"/>
            </a:lvl3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423280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1634714" y="2166452"/>
            <a:ext cx="3043402" cy="249301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/>
              <a:t>Klicka här för att ändra format på </a:t>
            </a:r>
            <a:r>
              <a:rPr lang="sv-SE" dirty="0" err="1"/>
              <a:t>bakgrund-stexten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5316827" y="2166452"/>
            <a:ext cx="3043402" cy="249301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/>
              <a:t>Klicka här för att ändra format på </a:t>
            </a:r>
            <a:r>
              <a:rPr lang="sv-SE" dirty="0" err="1"/>
              <a:t>bakgrunds-texten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40856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59987" y="1227846"/>
            <a:ext cx="7592558" cy="616857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771525" y="1862676"/>
            <a:ext cx="7577345" cy="2747424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624870" y="1227846"/>
            <a:ext cx="6743043" cy="616857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34676" y="2910177"/>
            <a:ext cx="6714194" cy="18288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3"/>
          </p:nvPr>
        </p:nvSpPr>
        <p:spPr>
          <a:xfrm>
            <a:off x="1640255" y="1886585"/>
            <a:ext cx="6723812" cy="914400"/>
          </a:xfrm>
        </p:spPr>
        <p:txBody>
          <a:bodyPr>
            <a:norm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624870" y="103876"/>
            <a:ext cx="6743043" cy="6168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34675" y="3550023"/>
            <a:ext cx="6722671" cy="1061201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3"/>
          </p:nvPr>
        </p:nvSpPr>
        <p:spPr>
          <a:xfrm>
            <a:off x="1633527" y="2491704"/>
            <a:ext cx="6732301" cy="9144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4242024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624870" y="103876"/>
            <a:ext cx="6743043" cy="616857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34675" y="3550023"/>
            <a:ext cx="6722671" cy="1061201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3"/>
          </p:nvPr>
        </p:nvSpPr>
        <p:spPr>
          <a:xfrm>
            <a:off x="1633527" y="2491704"/>
            <a:ext cx="6732301" cy="9144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838" y="132119"/>
            <a:ext cx="507600" cy="5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0737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 userDrawn="1"/>
        </p:nvSpPr>
        <p:spPr>
          <a:xfrm>
            <a:off x="0" y="737962"/>
            <a:ext cx="9144000" cy="44055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vmlDrawing" Target="../drawings/vmlDrawing7.v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24871" y="1227846"/>
            <a:ext cx="6727674" cy="61685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34676" y="2138901"/>
            <a:ext cx="6714194" cy="24092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15307" y="4862675"/>
            <a:ext cx="92631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124200" y="4862675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7911547" y="4862675"/>
            <a:ext cx="1133057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ktangel 8"/>
          <p:cNvSpPr/>
          <p:nvPr/>
        </p:nvSpPr>
        <p:spPr>
          <a:xfrm>
            <a:off x="0" y="0"/>
            <a:ext cx="9144000" cy="7394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1" name="Bildobjekt 10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060"/>
          <a:stretch/>
        </p:blipFill>
        <p:spPr>
          <a:xfrm>
            <a:off x="196533" y="125322"/>
            <a:ext cx="532172" cy="51722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64" r:id="rId4"/>
    <p:sldLayoutId id="2147483660" r:id="rId5"/>
    <p:sldLayoutId id="2147483665" r:id="rId6"/>
    <p:sldLayoutId id="2147483666" r:id="rId7"/>
    <p:sldLayoutId id="2147483655" r:id="rId8"/>
    <p:sldLayoutId id="2147483663" r:id="rId9"/>
    <p:sldLayoutId id="2147483661" r:id="rId10"/>
    <p:sldLayoutId id="2147483662" r:id="rId11"/>
    <p:sldLayoutId id="214748365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2250" indent="-22225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588" indent="-271463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92150" indent="-16668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/>
        </p:nvSpPr>
        <p:spPr>
          <a:xfrm>
            <a:off x="0" y="0"/>
            <a:ext cx="9144000" cy="7394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24871" y="1227846"/>
            <a:ext cx="6727674" cy="61685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34676" y="2138901"/>
            <a:ext cx="6714194" cy="24092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15307" y="4862675"/>
            <a:ext cx="92631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124200" y="4862675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7911547" y="4862675"/>
            <a:ext cx="1133057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11" name="Bildobjekt 10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6533" y="125322"/>
            <a:ext cx="532172" cy="51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920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</p:sldLayoutIdLst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2250" indent="-22225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588" indent="-271463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92150" indent="-16668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audio" Target="../media/media10.m4a"/><Relationship Id="rId1" Type="http://schemas.microsoft.com/office/2007/relationships/media" Target="../media/media10.m4a"/><Relationship Id="rId6" Type="http://schemas.openxmlformats.org/officeDocument/2006/relationships/image" Target="../media/image8.png"/><Relationship Id="rId5" Type="http://schemas.openxmlformats.org/officeDocument/2006/relationships/image" Target="../media/image14.jpe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6" Type="http://schemas.openxmlformats.org/officeDocument/2006/relationships/image" Target="../media/image8.png"/><Relationship Id="rId5" Type="http://schemas.openxmlformats.org/officeDocument/2006/relationships/hyperlink" Target="http://www.riksdagen.se/sv/dokument-lagar/dokument/svensk-forfattningssamling/tandvardslag-1985125_sfs-1985-125" TargetMode="External"/><Relationship Id="rId4" Type="http://schemas.openxmlformats.org/officeDocument/2006/relationships/hyperlink" Target="https://www.riksdagen.se/sv/dokument-lagar/dokument/svensk-forfattningssamling/halso--och-sjukvardslag_sfs-2017-30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5" Type="http://schemas.openxmlformats.org/officeDocument/2006/relationships/image" Target="../media/image8.png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5.m4a"/><Relationship Id="rId1" Type="http://schemas.microsoft.com/office/2007/relationships/media" Target="../media/media5.m4a"/><Relationship Id="rId5" Type="http://schemas.openxmlformats.org/officeDocument/2006/relationships/image" Target="../media/image8.png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audio" Target="../media/media6.m4a"/><Relationship Id="rId1" Type="http://schemas.microsoft.com/office/2007/relationships/media" Target="../media/media6.m4a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audio" Target="../media/media7.m4a"/><Relationship Id="rId1" Type="http://schemas.microsoft.com/office/2007/relationships/media" Target="../media/media7.m4a"/><Relationship Id="rId5" Type="http://schemas.openxmlformats.org/officeDocument/2006/relationships/image" Target="../media/image8.png"/><Relationship Id="rId4" Type="http://schemas.openxmlformats.org/officeDocument/2006/relationships/image" Target="../media/image1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audio" Target="../media/media8.m4a"/><Relationship Id="rId1" Type="http://schemas.microsoft.com/office/2007/relationships/media" Target="../media/media8.m4a"/><Relationship Id="rId5" Type="http://schemas.openxmlformats.org/officeDocument/2006/relationships/image" Target="../media/image8.png"/><Relationship Id="rId4" Type="http://schemas.openxmlformats.org/officeDocument/2006/relationships/image" Target="../media/image1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audio" Target="../media/media9.m4a"/><Relationship Id="rId1" Type="http://schemas.microsoft.com/office/2007/relationships/media" Target="../media/media9.m4a"/><Relationship Id="rId5" Type="http://schemas.openxmlformats.org/officeDocument/2006/relationships/image" Target="../media/image8.png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Basal vårdhygien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/>
              <a:t>På Folktandvården Skåne</a:t>
            </a:r>
          </a:p>
        </p:txBody>
      </p:sp>
      <p:pic>
        <p:nvPicPr>
          <p:cNvPr id="7" name="Ljud 6">
            <a:hlinkClick r:id="" action="ppaction://media"/>
            <a:extLst>
              <a:ext uri="{FF2B5EF4-FFF2-40B4-BE49-F238E27FC236}">
                <a16:creationId xmlns:a16="http://schemas.microsoft.com/office/drawing/2014/main" id="{8DC5CA52-DCAF-424C-947B-4CA27B9D9E98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521700" y="4521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4250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852"/>
    </mc:Choice>
    <mc:Fallback>
      <p:transition spd="slow" advTm="585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1680"/>
            <a:ext cx="9144000" cy="4994487"/>
          </a:xfrm>
          <a:prstGeom prst="rect">
            <a:avLst/>
          </a:prstGeom>
        </p:spPr>
      </p:pic>
      <p:sp>
        <p:nvSpPr>
          <p:cNvPr id="5" name="Rektangel 4"/>
          <p:cNvSpPr/>
          <p:nvPr/>
        </p:nvSpPr>
        <p:spPr>
          <a:xfrm>
            <a:off x="-160526" y="964300"/>
            <a:ext cx="391972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457200" algn="l"/>
                <a:tab pos="561975" algn="l"/>
                <a:tab pos="1011238" algn="l"/>
                <a:tab pos="1460500" algn="l"/>
                <a:tab pos="1909763" algn="l"/>
                <a:tab pos="2359025" algn="l"/>
                <a:tab pos="2808288" algn="l"/>
                <a:tab pos="3257550" algn="l"/>
                <a:tab pos="3706813" algn="l"/>
                <a:tab pos="4156075" algn="l"/>
                <a:tab pos="4605338" algn="l"/>
                <a:tab pos="5054600" algn="l"/>
                <a:tab pos="5503863" algn="l"/>
                <a:tab pos="5953125" algn="l"/>
                <a:tab pos="6402388" algn="l"/>
                <a:tab pos="6851650" algn="l"/>
                <a:tab pos="7300913" algn="l"/>
                <a:tab pos="7750175" algn="l"/>
                <a:tab pos="8199438" algn="l"/>
                <a:tab pos="8648700" algn="l"/>
                <a:tab pos="9097963" algn="l"/>
              </a:tabLst>
              <a:defRPr/>
            </a:pPr>
            <a:r>
              <a:rPr kumimoji="0" lang="sv-SE" alt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6533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r kunskap om Vårdhygien får du under din introduktion hos oss!</a:t>
            </a:r>
          </a:p>
        </p:txBody>
      </p:sp>
      <p:pic>
        <p:nvPicPr>
          <p:cNvPr id="4" name="Ljud 3">
            <a:hlinkClick r:id="" action="ppaction://media"/>
            <a:extLst>
              <a:ext uri="{FF2B5EF4-FFF2-40B4-BE49-F238E27FC236}">
                <a16:creationId xmlns:a16="http://schemas.microsoft.com/office/drawing/2014/main" id="{D538F2C7-B96B-4E6D-A1F4-DDAAF0D3CB17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521700" y="4521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6785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0931"/>
    </mc:Choice>
    <mc:Fallback>
      <p:transition spd="slow" advTm="1093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Vad är vårdhygien?</a:t>
            </a:r>
          </a:p>
        </p:txBody>
      </p:sp>
      <p:pic>
        <p:nvPicPr>
          <p:cNvPr id="6" name="Ljud 5">
            <a:hlinkClick r:id="" action="ppaction://media"/>
            <a:extLst>
              <a:ext uri="{FF2B5EF4-FFF2-40B4-BE49-F238E27FC236}">
                <a16:creationId xmlns:a16="http://schemas.microsoft.com/office/drawing/2014/main" id="{F32761BA-6279-4452-A0F4-67A6B46E93A4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521700" y="4521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7976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094"/>
    </mc:Choice>
    <mc:Fallback>
      <p:transition spd="slow" advTm="509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34676" y="1635646"/>
            <a:ext cx="6714194" cy="2409246"/>
          </a:xfrm>
        </p:spPr>
        <p:txBody>
          <a:bodyPr/>
          <a:lstStyle/>
          <a:p>
            <a:pPr marL="0" indent="0">
              <a:buNone/>
            </a:pPr>
            <a:r>
              <a:rPr lang="sv-SE" dirty="0"/>
              <a:t>Vårdhygien är ett samlingsbegrepp för åtgärder som förebygger att vårdrelaterade infektioner uppstår och sprids samt en viktig del i arbetet mot antibiotikaresistens </a:t>
            </a:r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r>
              <a:rPr lang="sv-SE" dirty="0">
                <a:hlinkClick r:id="rId4" tooltip="Hälso- och sjukvårdslagen"/>
              </a:rPr>
              <a:t>Hälso- och sjukvårdslagen (2017:30)</a:t>
            </a:r>
            <a:r>
              <a:rPr lang="sv-SE" dirty="0"/>
              <a:t> och </a:t>
            </a:r>
            <a:r>
              <a:rPr lang="sv-SE" dirty="0">
                <a:hlinkClick r:id="rId5" tooltip="Tandvårdslag"/>
              </a:rPr>
              <a:t>tandvårdslagen (1985:125)</a:t>
            </a:r>
            <a:r>
              <a:rPr lang="sv-SE" dirty="0"/>
              <a:t> anger att vården ska vara av god kvalitet med en god hygienisk standard.</a:t>
            </a:r>
          </a:p>
        </p:txBody>
      </p:sp>
      <p:pic>
        <p:nvPicPr>
          <p:cNvPr id="6" name="Ljud 5">
            <a:hlinkClick r:id="" action="ppaction://media"/>
            <a:extLst>
              <a:ext uri="{FF2B5EF4-FFF2-40B4-BE49-F238E27FC236}">
                <a16:creationId xmlns:a16="http://schemas.microsoft.com/office/drawing/2014/main" id="{13EDF142-2E33-43B3-ACFA-8DD3114BE1F4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521700" y="4521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0671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4236"/>
    </mc:Choice>
    <mc:Fallback>
      <p:transition spd="slow" advTm="2423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Visste du att…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3"/>
          </p:nvPr>
        </p:nvSpPr>
        <p:spPr>
          <a:xfrm>
            <a:off x="5292080" y="1886584"/>
            <a:ext cx="2711947" cy="2917413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dirty="0"/>
              <a:t>Under en nagel ryms lika många bakterier som antalet invånare i Sveri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sv-S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dirty="0"/>
              <a:t>Under ringen ryms lika många bakterier som antalet invånare i Europa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sv-S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dirty="0"/>
              <a:t>I ett trasigt nagelband ryms lika många bakterier som hela jordens befolkning.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6BB453D9-2F7A-4E93-95C8-2FE711CC2AD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4870" y="1886584"/>
            <a:ext cx="2746221" cy="3256916"/>
          </a:xfrm>
          <a:prstGeom prst="rect">
            <a:avLst/>
          </a:prstGeom>
        </p:spPr>
      </p:pic>
      <p:sp>
        <p:nvSpPr>
          <p:cNvPr id="7" name="Ellips 6">
            <a:extLst>
              <a:ext uri="{FF2B5EF4-FFF2-40B4-BE49-F238E27FC236}">
                <a16:creationId xmlns:a16="http://schemas.microsoft.com/office/drawing/2014/main" id="{05E22CF6-FBFC-4ACD-8A07-38308FB6DD26}"/>
              </a:ext>
            </a:extLst>
          </p:cNvPr>
          <p:cNvSpPr/>
          <p:nvPr/>
        </p:nvSpPr>
        <p:spPr>
          <a:xfrm>
            <a:off x="2781956" y="2787774"/>
            <a:ext cx="432048" cy="432048"/>
          </a:xfrm>
          <a:prstGeom prst="ellipse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" name="Ellips 7">
            <a:extLst>
              <a:ext uri="{FF2B5EF4-FFF2-40B4-BE49-F238E27FC236}">
                <a16:creationId xmlns:a16="http://schemas.microsoft.com/office/drawing/2014/main" id="{6421CC47-8378-4D97-94D0-464DBA7CF650}"/>
              </a:ext>
            </a:extLst>
          </p:cNvPr>
          <p:cNvSpPr/>
          <p:nvPr/>
        </p:nvSpPr>
        <p:spPr>
          <a:xfrm>
            <a:off x="3563888" y="2211710"/>
            <a:ext cx="432048" cy="432048"/>
          </a:xfrm>
          <a:prstGeom prst="ellipse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Ellips 8">
            <a:extLst>
              <a:ext uri="{FF2B5EF4-FFF2-40B4-BE49-F238E27FC236}">
                <a16:creationId xmlns:a16="http://schemas.microsoft.com/office/drawing/2014/main" id="{9DE5D4D0-4A8B-471E-8657-AB7BE586B0D1}"/>
              </a:ext>
            </a:extLst>
          </p:cNvPr>
          <p:cNvSpPr/>
          <p:nvPr/>
        </p:nvSpPr>
        <p:spPr>
          <a:xfrm>
            <a:off x="3419872" y="3579862"/>
            <a:ext cx="432048" cy="432048"/>
          </a:xfrm>
          <a:prstGeom prst="ellipse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5" name="Ljud 4">
            <a:hlinkClick r:id="" action="ppaction://media"/>
            <a:extLst>
              <a:ext uri="{FF2B5EF4-FFF2-40B4-BE49-F238E27FC236}">
                <a16:creationId xmlns:a16="http://schemas.microsoft.com/office/drawing/2014/main" id="{2DBF5D80-A231-47A9-8E62-D7FD438BF9B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521700" y="4521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8159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6606"/>
    </mc:Choice>
    <mc:Fallback>
      <p:transition spd="slow" advTm="2660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asala</a:t>
            </a:r>
            <a:r>
              <a:rPr lang="en-US" dirty="0"/>
              <a:t> </a:t>
            </a:r>
            <a:r>
              <a:rPr lang="en-US" dirty="0" err="1"/>
              <a:t>hygienrutiner</a:t>
            </a:r>
            <a:endParaRPr lang="en-US" dirty="0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27BD4602-235C-4FEB-B2C7-04BA6CDF1976}"/>
              </a:ext>
            </a:extLst>
          </p:cNvPr>
          <p:cNvSpPr txBox="1">
            <a:spLocks/>
          </p:cNvSpPr>
          <p:nvPr/>
        </p:nvSpPr>
        <p:spPr>
          <a:xfrm>
            <a:off x="759987" y="2499742"/>
            <a:ext cx="4028037" cy="162496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/>
              <a:t>Ska </a:t>
            </a:r>
            <a:r>
              <a:rPr lang="en-US" sz="2400" dirty="0" err="1"/>
              <a:t>användas</a:t>
            </a:r>
            <a:r>
              <a:rPr lang="en-US" sz="2400" dirty="0"/>
              <a:t> i </a:t>
            </a:r>
            <a:r>
              <a:rPr lang="en-US" sz="2400" dirty="0" err="1"/>
              <a:t>alla</a:t>
            </a:r>
            <a:r>
              <a:rPr lang="en-US" sz="2400" dirty="0"/>
              <a:t> </a:t>
            </a:r>
            <a:r>
              <a:rPr lang="en-US" sz="2400" dirty="0" err="1"/>
              <a:t>situationer</a:t>
            </a:r>
            <a:r>
              <a:rPr lang="en-US" sz="2400" dirty="0"/>
              <a:t> </a:t>
            </a:r>
            <a:r>
              <a:rPr lang="en-US" sz="2400" dirty="0" err="1"/>
              <a:t>där</a:t>
            </a:r>
            <a:r>
              <a:rPr lang="en-US" sz="2400" dirty="0"/>
              <a:t> man </a:t>
            </a:r>
            <a:r>
              <a:rPr lang="en-US" sz="2400" dirty="0" err="1"/>
              <a:t>vill</a:t>
            </a:r>
            <a:r>
              <a:rPr lang="en-US" sz="2400" dirty="0"/>
              <a:t> </a:t>
            </a:r>
            <a:r>
              <a:rPr lang="en-US" sz="2400" dirty="0" err="1"/>
              <a:t>förebygga</a:t>
            </a:r>
            <a:r>
              <a:rPr lang="en-US" sz="2400" dirty="0"/>
              <a:t> </a:t>
            </a:r>
            <a:r>
              <a:rPr lang="en-US" sz="2400" dirty="0" err="1"/>
              <a:t>smitta</a:t>
            </a:r>
            <a:r>
              <a:rPr lang="en-US" sz="2400" dirty="0"/>
              <a:t>.</a:t>
            </a:r>
          </a:p>
        </p:txBody>
      </p:sp>
      <p:pic>
        <p:nvPicPr>
          <p:cNvPr id="6" name="Bildobjekt 5" descr="En bild som visar man, håller, kvinna, stående&#10;&#10;Automatiskt genererad beskrivning">
            <a:extLst>
              <a:ext uri="{FF2B5EF4-FFF2-40B4-BE49-F238E27FC236}">
                <a16:creationId xmlns:a16="http://schemas.microsoft.com/office/drawing/2014/main" id="{B0187F73-4EF1-4689-9182-27C4F574D5E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643438" y="1383413"/>
            <a:ext cx="5143500" cy="3857625"/>
          </a:xfrm>
          <a:prstGeom prst="rect">
            <a:avLst/>
          </a:prstGeom>
        </p:spPr>
      </p:pic>
      <p:pic>
        <p:nvPicPr>
          <p:cNvPr id="5" name="Ljud 4">
            <a:hlinkClick r:id="" action="ppaction://media"/>
            <a:extLst>
              <a:ext uri="{FF2B5EF4-FFF2-40B4-BE49-F238E27FC236}">
                <a16:creationId xmlns:a16="http://schemas.microsoft.com/office/drawing/2014/main" id="{58C32846-903E-4807-B23C-7DC991B60E37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521700" y="4521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1720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543"/>
    </mc:Choice>
    <mc:Fallback>
      <p:transition spd="slow" advTm="854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6F1EC7A-C08D-48E6-B3D7-EA1C420545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34676" y="1674672"/>
            <a:ext cx="6714194" cy="2409246"/>
          </a:xfrm>
        </p:spPr>
        <p:txBody>
          <a:bodyPr/>
          <a:lstStyle/>
          <a:p>
            <a:pPr marL="0" indent="0">
              <a:buNone/>
            </a:pPr>
            <a:r>
              <a:rPr lang="sv-SE" dirty="0"/>
              <a:t>Den mest grundläggande åtgärden för att förebygga vårdrelaterade infektioner inom alla former av vård och omsorg är att vårdpersonal av alla kategorier </a:t>
            </a:r>
            <a:r>
              <a:rPr lang="sv-SE" b="1" dirty="0"/>
              <a:t>alltid tillämpar basala vårdhygienrutiner</a:t>
            </a:r>
            <a:r>
              <a:rPr lang="sv-SE" dirty="0"/>
              <a:t> i sitt arbete. </a:t>
            </a:r>
          </a:p>
          <a:p>
            <a:pPr marL="0" indent="0">
              <a:buNone/>
            </a:pPr>
            <a:endParaRPr lang="sv-SE" b="1" dirty="0"/>
          </a:p>
          <a:p>
            <a:pPr marL="0" indent="0">
              <a:buNone/>
            </a:pPr>
            <a:r>
              <a:rPr lang="sv-SE" b="1" dirty="0"/>
              <a:t>För oss på Folktandvården Skåne innebär det följande:</a:t>
            </a:r>
          </a:p>
        </p:txBody>
      </p:sp>
      <p:pic>
        <p:nvPicPr>
          <p:cNvPr id="4" name="Ljud 3">
            <a:hlinkClick r:id="" action="ppaction://media"/>
            <a:extLst>
              <a:ext uri="{FF2B5EF4-FFF2-40B4-BE49-F238E27FC236}">
                <a16:creationId xmlns:a16="http://schemas.microsoft.com/office/drawing/2014/main" id="{20429127-3254-481D-81F8-E2ABD03E0ACB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521700" y="4521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2140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1825"/>
    </mc:Choice>
    <mc:Fallback>
      <p:transition spd="slow" advTm="2182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4DEF84A-B995-41A8-9F36-E5BC2C8C84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Basala hygienrutiner innebä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A19CBD4-CE1B-4E0F-BA50-6FE903E86B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altLang="sv-SE" dirty="0"/>
              <a:t>Handhygien, alltid handdesinfektion</a:t>
            </a:r>
          </a:p>
          <a:p>
            <a:r>
              <a:rPr lang="sv-SE" altLang="sv-SE" dirty="0"/>
              <a:t>Handskar och munskydd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F1A05A95-1B5F-442D-8E80-C9849086289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06216">
            <a:off x="6131370" y="2069463"/>
            <a:ext cx="696506" cy="1004576"/>
          </a:xfrm>
          <a:prstGeom prst="rect">
            <a:avLst/>
          </a:prstGeom>
        </p:spPr>
      </p:pic>
      <p:pic>
        <p:nvPicPr>
          <p:cNvPr id="6" name="Ljud 5">
            <a:hlinkClick r:id="" action="ppaction://media"/>
            <a:extLst>
              <a:ext uri="{FF2B5EF4-FFF2-40B4-BE49-F238E27FC236}">
                <a16:creationId xmlns:a16="http://schemas.microsoft.com/office/drawing/2014/main" id="{01F68342-9169-40B6-A4B9-81D32712B290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521700" y="4521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6272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6670"/>
    </mc:Choice>
    <mc:Fallback>
      <p:transition spd="slow" advTm="3667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D7F307C-AB1E-4802-8BB8-2B4CF46EE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5616" y="1367126"/>
            <a:ext cx="3744416" cy="329285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dirty="0"/>
              <a:t>Vid patientbehandling med risk för stänk och aerosol ska även personlig skyddsutrustning användas</a:t>
            </a:r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r>
              <a:rPr lang="sv-SE" b="1"/>
              <a:t>Personlig skyddsutrustning</a:t>
            </a:r>
            <a:endParaRPr lang="sv-SE" b="1" dirty="0"/>
          </a:p>
          <a:p>
            <a:r>
              <a:rPr lang="sv-SE" dirty="0"/>
              <a:t>Förkläde och stänkskydd i form av visir/skyddsglasögon</a:t>
            </a:r>
          </a:p>
          <a:p>
            <a:pPr marL="0" indent="0">
              <a:buNone/>
            </a:pPr>
            <a:endParaRPr lang="sv-SE" dirty="0"/>
          </a:p>
        </p:txBody>
      </p:sp>
      <p:pic>
        <p:nvPicPr>
          <p:cNvPr id="5" name="Bildobjekt 4" descr="En bild som visar inomhus, person, bord, man&#10;&#10;Automatiskt genererad beskrivning">
            <a:extLst>
              <a:ext uri="{FF2B5EF4-FFF2-40B4-BE49-F238E27FC236}">
                <a16:creationId xmlns:a16="http://schemas.microsoft.com/office/drawing/2014/main" id="{F826EE20-44CD-4FB5-ABAD-8A7D61172E7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04" r="-396"/>
          <a:stretch/>
        </p:blipFill>
        <p:spPr>
          <a:xfrm rot="5400000">
            <a:off x="4983238" y="1043855"/>
            <a:ext cx="4464000" cy="3857625"/>
          </a:xfrm>
          <a:prstGeom prst="rect">
            <a:avLst/>
          </a:prstGeom>
        </p:spPr>
      </p:pic>
      <p:pic>
        <p:nvPicPr>
          <p:cNvPr id="4" name="Ljud 3">
            <a:hlinkClick r:id="" action="ppaction://media"/>
            <a:extLst>
              <a:ext uri="{FF2B5EF4-FFF2-40B4-BE49-F238E27FC236}">
                <a16:creationId xmlns:a16="http://schemas.microsoft.com/office/drawing/2014/main" id="{F7111DFA-642F-4515-8195-DA1BC8FEB075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521700" y="4521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3347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7566"/>
    </mc:Choice>
    <mc:Fallback>
      <p:transition spd="slow" advTm="1756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824CE8E-CF2A-4D46-A1CA-32D78060FA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3608" y="1227846"/>
            <a:ext cx="6727674" cy="616857"/>
          </a:xfrm>
        </p:spPr>
        <p:txBody>
          <a:bodyPr/>
          <a:lstStyle/>
          <a:p>
            <a:r>
              <a:rPr lang="sv-SE" dirty="0"/>
              <a:t>Handhygien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7FBEE7D-AE30-4A99-A95C-8C44440C40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3413" y="2138901"/>
            <a:ext cx="4089452" cy="2409246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sv-SE" altLang="sv-SE" dirty="0"/>
              <a:t>Inga ringar, armband och armbandsklockor </a:t>
            </a:r>
          </a:p>
          <a:p>
            <a:pPr>
              <a:lnSpc>
                <a:spcPct val="80000"/>
              </a:lnSpc>
            </a:pPr>
            <a:r>
              <a:rPr lang="sv-SE" altLang="sv-SE" dirty="0"/>
              <a:t>Kortklippta naglar</a:t>
            </a:r>
          </a:p>
          <a:p>
            <a:pPr>
              <a:lnSpc>
                <a:spcPct val="80000"/>
              </a:lnSpc>
            </a:pPr>
            <a:r>
              <a:rPr lang="sv-SE" altLang="sv-SE" dirty="0"/>
              <a:t>Inget nagellack eller konstgjorda naglar</a:t>
            </a:r>
          </a:p>
          <a:p>
            <a:pPr>
              <a:lnSpc>
                <a:spcPct val="80000"/>
              </a:lnSpc>
            </a:pPr>
            <a:r>
              <a:rPr lang="sv-SE" altLang="sv-SE" dirty="0"/>
              <a:t>Underarmar och händer fria från bandage, förband och stödskenor</a:t>
            </a:r>
          </a:p>
        </p:txBody>
      </p:sp>
      <p:pic>
        <p:nvPicPr>
          <p:cNvPr id="7" name="Bildobjekt 6" descr="En bild som visar blå, vit, svart, vatten&#10;&#10;Automatiskt genererad beskrivning">
            <a:extLst>
              <a:ext uri="{FF2B5EF4-FFF2-40B4-BE49-F238E27FC236}">
                <a16:creationId xmlns:a16="http://schemas.microsoft.com/office/drawing/2014/main" id="{7E31E992-E925-400A-BA99-789EC58F4DC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5879" y="727048"/>
            <a:ext cx="3488121" cy="5143500"/>
          </a:xfrm>
          <a:prstGeom prst="rect">
            <a:avLst/>
          </a:prstGeom>
        </p:spPr>
      </p:pic>
      <p:pic>
        <p:nvPicPr>
          <p:cNvPr id="5" name="Ljud 4">
            <a:hlinkClick r:id="" action="ppaction://media"/>
            <a:extLst>
              <a:ext uri="{FF2B5EF4-FFF2-40B4-BE49-F238E27FC236}">
                <a16:creationId xmlns:a16="http://schemas.microsoft.com/office/drawing/2014/main" id="{10F9F814-C8EF-494D-8D99-219914FB959C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521700" y="4521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68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3837"/>
    </mc:Choice>
    <mc:Fallback>
      <p:transition spd="slow" advTm="2383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TV wide screen2015 NY">
  <a:themeElements>
    <a:clrScheme name="FTV2015NY">
      <a:dk1>
        <a:srgbClr val="1A171B"/>
      </a:dk1>
      <a:lt1>
        <a:sysClr val="window" lastClr="FFFFFF"/>
      </a:lt1>
      <a:dk2>
        <a:srgbClr val="653387"/>
      </a:dk2>
      <a:lt2>
        <a:srgbClr val="B3995D"/>
      </a:lt2>
      <a:accent1>
        <a:srgbClr val="008770"/>
      </a:accent1>
      <a:accent2>
        <a:srgbClr val="417CD4"/>
      </a:accent2>
      <a:accent3>
        <a:srgbClr val="DB0028"/>
      </a:accent3>
      <a:accent4>
        <a:srgbClr val="EA6E16"/>
      </a:accent4>
      <a:accent5>
        <a:srgbClr val="FBBD15"/>
      </a:accent5>
      <a:accent6>
        <a:srgbClr val="4C4C4C"/>
      </a:accent6>
      <a:hlink>
        <a:srgbClr val="653387"/>
      </a:hlink>
      <a:folHlink>
        <a:srgbClr val="653387"/>
      </a:folHlink>
    </a:clrScheme>
    <a:fontScheme name="Folktandvård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Powerpointmall_bred">
  <a:themeElements>
    <a:clrScheme name="FTV2015NY">
      <a:dk1>
        <a:srgbClr val="1A171B"/>
      </a:dk1>
      <a:lt1>
        <a:sysClr val="window" lastClr="FFFFFF"/>
      </a:lt1>
      <a:dk2>
        <a:srgbClr val="653387"/>
      </a:dk2>
      <a:lt2>
        <a:srgbClr val="B3995D"/>
      </a:lt2>
      <a:accent1>
        <a:srgbClr val="008770"/>
      </a:accent1>
      <a:accent2>
        <a:srgbClr val="417CD4"/>
      </a:accent2>
      <a:accent3>
        <a:srgbClr val="DB0028"/>
      </a:accent3>
      <a:accent4>
        <a:srgbClr val="EA6E16"/>
      </a:accent4>
      <a:accent5>
        <a:srgbClr val="FBBD15"/>
      </a:accent5>
      <a:accent6>
        <a:srgbClr val="4C4C4C"/>
      </a:accent6>
      <a:hlink>
        <a:srgbClr val="653387"/>
      </a:hlink>
      <a:folHlink>
        <a:srgbClr val="653387"/>
      </a:folHlink>
    </a:clrScheme>
    <a:fontScheme name="Folktandvård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tv-wide-screen-2015-nyjuli</Template>
  <TotalTime>0</TotalTime>
  <Words>220</Words>
  <Application>Microsoft Office PowerPoint</Application>
  <PresentationFormat>Bildspel på skärmen (16:9)</PresentationFormat>
  <Paragraphs>31</Paragraphs>
  <Slides>10</Slides>
  <Notes>1</Notes>
  <HiddenSlides>0</HiddenSlides>
  <MMClips>1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0</vt:i4>
      </vt:variant>
    </vt:vector>
  </HeadingPairs>
  <TitlesOfParts>
    <vt:vector size="16" baseType="lpstr">
      <vt:lpstr>Arial</vt:lpstr>
      <vt:lpstr>Calibri</vt:lpstr>
      <vt:lpstr>Wingdings</vt:lpstr>
      <vt:lpstr>FTV wide screen2015 NY</vt:lpstr>
      <vt:lpstr>Powerpointmall_bred</vt:lpstr>
      <vt:lpstr>think-cell Slide</vt:lpstr>
      <vt:lpstr>Basal vårdhygien</vt:lpstr>
      <vt:lpstr>Vad är vårdhygien?</vt:lpstr>
      <vt:lpstr>PowerPoint-presentation</vt:lpstr>
      <vt:lpstr>Visste du att…</vt:lpstr>
      <vt:lpstr>Basala hygienrutiner</vt:lpstr>
      <vt:lpstr>PowerPoint-presentation</vt:lpstr>
      <vt:lpstr>Basala hygienrutiner innebär</vt:lpstr>
      <vt:lpstr>PowerPoint-presentation</vt:lpstr>
      <vt:lpstr>Handhygien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Nilsson Sun</dc:creator>
  <cp:lastModifiedBy>Andersson Nina NA</cp:lastModifiedBy>
  <cp:revision>10</cp:revision>
  <dcterms:created xsi:type="dcterms:W3CDTF">2020-06-10T11:47:25Z</dcterms:created>
  <dcterms:modified xsi:type="dcterms:W3CDTF">2020-08-26T11:23:31Z</dcterms:modified>
</cp:coreProperties>
</file>